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8"/>
  </p:notesMasterIdLst>
  <p:handoutMasterIdLst>
    <p:handoutMasterId r:id="rId9"/>
  </p:handoutMasterIdLst>
  <p:sldIdLst>
    <p:sldId id="258" r:id="rId7"/>
  </p:sldIdLst>
  <p:sldSz cx="6858000" cy="9906000" type="A4"/>
  <p:notesSz cx="6858000" cy="9144000"/>
  <p:custDataLst>
    <p:tags r:id="rId10"/>
  </p:custDataLst>
  <p:defaultTextStyle>
    <a:defPPr>
      <a:defRPr lang="de-DE"/>
    </a:defPPr>
    <a:lvl1pPr marL="0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904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808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711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614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9518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9422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9325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9229" algn="l" defTabSz="1119808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CDCDD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AB16EF-5477-4AD8-83BC-8861BA85707C}" v="18" dt="2023-04-11T04:03:47.1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0" d="100"/>
          <a:sy n="60" d="100"/>
        </p:scale>
        <p:origin x="1876" y="-3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22F35C-BEEC-4982-81EC-2335C0F748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485001" y="8748000"/>
            <a:ext cx="4032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 sz="80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779659-7628-499C-99FD-1D2E867AAA1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165001" y="8748000"/>
            <a:ext cx="504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fld id="{D7922080-6DDB-4DAF-821D-ECA13D29AB1F}" type="slidenum">
              <a:rPr lang="de-DE" sz="800" smtClean="0"/>
              <a:pPr/>
              <a:t>‹#›</a:t>
            </a:fld>
            <a:endParaRPr lang="de-DE" sz="800"/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67A56139-A02D-4DAE-A19D-4760F40014FA}"/>
              </a:ext>
            </a:extLst>
          </p:cNvPr>
          <p:cNvSpPr>
            <a:spLocks noChangeAspect="1"/>
          </p:cNvSpPr>
          <p:nvPr/>
        </p:nvSpPr>
        <p:spPr bwMode="auto">
          <a:xfrm>
            <a:off x="5968058" y="8748001"/>
            <a:ext cx="124943" cy="212003"/>
          </a:xfrm>
          <a:custGeom>
            <a:avLst/>
            <a:gdLst>
              <a:gd name="connsiteX0" fmla="*/ 122836 w 124943"/>
              <a:gd name="connsiteY0" fmla="*/ 0 h 212003"/>
              <a:gd name="connsiteX1" fmla="*/ 124943 w 124943"/>
              <a:gd name="connsiteY1" fmla="*/ 0 h 212003"/>
              <a:gd name="connsiteX2" fmla="*/ 2107 w 124943"/>
              <a:gd name="connsiteY2" fmla="*/ 212003 h 212003"/>
              <a:gd name="connsiteX3" fmla="*/ 0 w 124943"/>
              <a:gd name="connsiteY3" fmla="*/ 212003 h 212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943" h="212003">
                <a:moveTo>
                  <a:pt x="122836" y="0"/>
                </a:moveTo>
                <a:lnTo>
                  <a:pt x="124943" y="0"/>
                </a:lnTo>
                <a:lnTo>
                  <a:pt x="2107" y="212003"/>
                </a:lnTo>
                <a:lnTo>
                  <a:pt x="0" y="212003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1" name="Picture 12">
            <a:extLst>
              <a:ext uri="{FF2B5EF4-FFF2-40B4-BE49-F238E27FC236}">
                <a16:creationId xmlns:a16="http://schemas.microsoft.com/office/drawing/2014/main" id="{A5A49ACF-F0BE-403D-B007-5DB7A8DE46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1" y="8748000"/>
            <a:ext cx="900000" cy="21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3300" y="539750"/>
            <a:ext cx="1665288" cy="2403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05001" y="3276000"/>
            <a:ext cx="6048000" cy="51822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124D94DD-82CC-4769-8153-199C2798E2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485001" y="8748000"/>
            <a:ext cx="4032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 sz="800"/>
          </a:p>
        </p:txBody>
      </p:sp>
      <p:sp>
        <p:nvSpPr>
          <p:cNvPr id="11" name="Foliennummernplatzhalter 6">
            <a:extLst>
              <a:ext uri="{FF2B5EF4-FFF2-40B4-BE49-F238E27FC236}">
                <a16:creationId xmlns:a16="http://schemas.microsoft.com/office/drawing/2014/main" id="{6A4CCF1C-27CA-426D-B481-14C7ED642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165001" y="8748000"/>
            <a:ext cx="504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fld id="{D7922080-6DDB-4DAF-821D-ECA13D29AB1F}" type="slidenum">
              <a:rPr lang="de-DE" sz="800" smtClean="0"/>
              <a:pPr/>
              <a:t>‹#›</a:t>
            </a:fld>
            <a:endParaRPr lang="de-DE" sz="8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F1661F0-130E-4A1C-8D75-6B57575E46BA}"/>
              </a:ext>
            </a:extLst>
          </p:cNvPr>
          <p:cNvSpPr>
            <a:spLocks noChangeAspect="1"/>
          </p:cNvSpPr>
          <p:nvPr/>
        </p:nvSpPr>
        <p:spPr bwMode="auto">
          <a:xfrm>
            <a:off x="5968058" y="8748001"/>
            <a:ext cx="124943" cy="212003"/>
          </a:xfrm>
          <a:custGeom>
            <a:avLst/>
            <a:gdLst>
              <a:gd name="connsiteX0" fmla="*/ 122836 w 124943"/>
              <a:gd name="connsiteY0" fmla="*/ 0 h 212003"/>
              <a:gd name="connsiteX1" fmla="*/ 124943 w 124943"/>
              <a:gd name="connsiteY1" fmla="*/ 0 h 212003"/>
              <a:gd name="connsiteX2" fmla="*/ 2107 w 124943"/>
              <a:gd name="connsiteY2" fmla="*/ 212003 h 212003"/>
              <a:gd name="connsiteX3" fmla="*/ 0 w 124943"/>
              <a:gd name="connsiteY3" fmla="*/ 212003 h 212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943" h="212003">
                <a:moveTo>
                  <a:pt x="122836" y="0"/>
                </a:moveTo>
                <a:lnTo>
                  <a:pt x="124943" y="0"/>
                </a:lnTo>
                <a:lnTo>
                  <a:pt x="2107" y="212003"/>
                </a:lnTo>
                <a:lnTo>
                  <a:pt x="0" y="212003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04CB1594-83D2-43BB-B898-AFD990D25E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1" y="8748000"/>
            <a:ext cx="900000" cy="21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Font typeface="Arial" panose="020B0604020202020204" pitchFamily="34" charset="0"/>
      <a:buNone/>
      <a:defRPr sz="147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Font typeface="Arial" panose="020B0604020202020204" pitchFamily="34" charset="0"/>
      <a:buNone/>
      <a:defRPr sz="1470" kern="1200">
        <a:solidFill>
          <a:schemeClr val="tx1"/>
        </a:solidFill>
        <a:latin typeface="+mn-lt"/>
        <a:ea typeface="+mn-ea"/>
        <a:cs typeface="+mn-cs"/>
      </a:defRPr>
    </a:lvl2pPr>
    <a:lvl3pPr marL="198396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3pPr>
    <a:lvl4pPr marL="396792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4pPr>
    <a:lvl5pPr marL="595188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5pPr>
    <a:lvl6pPr marL="595188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6pPr>
    <a:lvl7pPr marL="595188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7pPr>
    <a:lvl8pPr marL="595188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8pPr>
    <a:lvl9pPr marL="595188" indent="-198396" algn="l" defTabSz="1119808" rtl="0" eaLnBrk="1" latinLnBrk="0" hangingPunct="1">
      <a:lnSpc>
        <a:spcPct val="110000"/>
      </a:lnSpc>
      <a:spcBef>
        <a:spcPts val="551"/>
      </a:spcBef>
      <a:spcAft>
        <a:spcPts val="0"/>
      </a:spcAft>
      <a:buClr>
        <a:schemeClr val="accent4">
          <a:lumMod val="60000"/>
          <a:lumOff val="40000"/>
        </a:schemeClr>
      </a:buClr>
      <a:buFont typeface="Arial" panose="020B0604020202020204" pitchFamily="34" charset="0"/>
      <a:buChar char="•"/>
      <a:defRPr sz="14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B2B13E4-6645-4438-90B6-E12291DCD1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6858000" cy="9905785"/>
          </a:xfrm>
          <a:custGeom>
            <a:avLst/>
            <a:gdLst>
              <a:gd name="connsiteX0" fmla="*/ 5970208 w 7559675"/>
              <a:gd name="connsiteY0" fmla="*/ 0 h 10691581"/>
              <a:gd name="connsiteX1" fmla="*/ 7559675 w 7559675"/>
              <a:gd name="connsiteY1" fmla="*/ 1725 h 10691581"/>
              <a:gd name="connsiteX2" fmla="*/ 7559675 w 7559675"/>
              <a:gd name="connsiteY2" fmla="*/ 10691581 h 10691581"/>
              <a:gd name="connsiteX3" fmla="*/ 0 w 7559675"/>
              <a:gd name="connsiteY3" fmla="*/ 10690804 h 10691581"/>
              <a:gd name="connsiteX4" fmla="*/ 0 w 7559675"/>
              <a:gd name="connsiteY4" fmla="*/ 10345537 h 10691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9675" h="10691581">
                <a:moveTo>
                  <a:pt x="5970208" y="0"/>
                </a:moveTo>
                <a:lnTo>
                  <a:pt x="7559675" y="1725"/>
                </a:lnTo>
                <a:lnTo>
                  <a:pt x="7559675" y="10691581"/>
                </a:lnTo>
                <a:lnTo>
                  <a:pt x="0" y="10690804"/>
                </a:lnTo>
                <a:lnTo>
                  <a:pt x="0" y="10345537"/>
                </a:lnTo>
                <a:close/>
              </a:path>
            </a:pathLst>
          </a:custGeom>
          <a:solidFill>
            <a:schemeClr val="bg1">
              <a:lumMod val="95000"/>
              <a:alpha val="32000"/>
            </a:schemeClr>
          </a:solidFill>
        </p:spPr>
        <p:txBody>
          <a:bodyPr vert="horz" wrap="square" lIns="0" tIns="864000" rIns="0" bIns="0" rtlCol="0" anchor="ctr" anchorCtr="1">
            <a:noAutofit/>
          </a:bodyPr>
          <a:lstStyle>
            <a:lvl1pPr marL="239994" indent="-239994" algn="r">
              <a:buNone/>
              <a:defRPr lang="de-DE" sz="1100" dirty="0">
                <a:latin typeface="+mn-lt"/>
              </a:defRPr>
            </a:lvl1pPr>
          </a:lstStyle>
          <a:p>
            <a:pPr marL="0" lvl="0" indent="0"/>
            <a:r>
              <a:rPr lang="en-GB" noProof="0" dirty="0"/>
              <a:t>Click icon to add picture</a:t>
            </a:r>
          </a:p>
        </p:txBody>
      </p:sp>
      <p:pic>
        <p:nvPicPr>
          <p:cNvPr id="7" name="Picture 30">
            <a:extLst>
              <a:ext uri="{FF2B5EF4-FFF2-40B4-BE49-F238E27FC236}">
                <a16:creationId xmlns:a16="http://schemas.microsoft.com/office/drawing/2014/main" id="{DA0E38D1-FA8D-48D6-A6C2-E5ED71E9BC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30" y="416840"/>
            <a:ext cx="1959513" cy="475495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E2D93104-5149-4268-B29C-D8DD6E9B5C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350755"/>
            <a:ext cx="3630542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D0ADB40B-69FB-4188-AAE1-B4E6151E3E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2618211"/>
            <a:ext cx="3630542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92742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o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73BFF90-BFA2-46B0-AA10-4D7E40BABA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849955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7476A54-0D31-435C-B458-6AB05BEDD0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117411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8163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28708" y="934"/>
            <a:ext cx="5452386" cy="933648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109 w 10000"/>
              <a:gd name="connsiteY1" fmla="*/ 24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109"/>
              <a:gd name="connsiteY0" fmla="*/ 0 h 10008"/>
              <a:gd name="connsiteX1" fmla="*/ 5109 w 5109"/>
              <a:gd name="connsiteY1" fmla="*/ 24 h 10008"/>
              <a:gd name="connsiteX2" fmla="*/ 5080 w 5109"/>
              <a:gd name="connsiteY2" fmla="*/ 10008 h 10008"/>
              <a:gd name="connsiteX3" fmla="*/ 0 w 5109"/>
              <a:gd name="connsiteY3" fmla="*/ 10000 h 10008"/>
              <a:gd name="connsiteX4" fmla="*/ 5080 w 5109"/>
              <a:gd name="connsiteY4" fmla="*/ 0 h 10008"/>
              <a:gd name="connsiteX0" fmla="*/ 9943 w 10000"/>
              <a:gd name="connsiteY0" fmla="*/ 0 h 10000"/>
              <a:gd name="connsiteX1" fmla="*/ 10000 w 10000"/>
              <a:gd name="connsiteY1" fmla="*/ 24 h 10000"/>
              <a:gd name="connsiteX2" fmla="*/ 9943 w 10000"/>
              <a:gd name="connsiteY2" fmla="*/ 10000 h 10000"/>
              <a:gd name="connsiteX3" fmla="*/ 0 w 10000"/>
              <a:gd name="connsiteY3" fmla="*/ 9992 h 10000"/>
              <a:gd name="connsiteX4" fmla="*/ 9943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943" y="0"/>
                </a:moveTo>
                <a:cubicBezTo>
                  <a:pt x="9963" y="8"/>
                  <a:pt x="9980" y="16"/>
                  <a:pt x="10000" y="24"/>
                </a:cubicBezTo>
                <a:cubicBezTo>
                  <a:pt x="9981" y="3349"/>
                  <a:pt x="9962" y="6675"/>
                  <a:pt x="9943" y="10000"/>
                </a:cubicBezTo>
                <a:lnTo>
                  <a:pt x="0" y="9992"/>
                </a:lnTo>
                <a:lnTo>
                  <a:pt x="994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942344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2209800"/>
            <a:ext cx="3265855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</a:t>
            </a:r>
            <a:br>
              <a:rPr lang="en-GB" noProof="0" dirty="0"/>
            </a:br>
            <a:r>
              <a:rPr lang="en-GB" noProof="0" dirty="0"/>
              <a:t>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8097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85291" y="1751013"/>
            <a:ext cx="4410030" cy="757894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1 h 10000"/>
              <a:gd name="connsiteX1" fmla="*/ 5087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5087"/>
              <a:gd name="connsiteY0" fmla="*/ 1 h 10000"/>
              <a:gd name="connsiteX1" fmla="*/ 5087 w 5087"/>
              <a:gd name="connsiteY1" fmla="*/ 0 h 10000"/>
              <a:gd name="connsiteX2" fmla="*/ 5051 w 5087"/>
              <a:gd name="connsiteY2" fmla="*/ 10000 h 10000"/>
              <a:gd name="connsiteX3" fmla="*/ 0 w 5087"/>
              <a:gd name="connsiteY3" fmla="*/ 10000 h 10000"/>
              <a:gd name="connsiteX4" fmla="*/ 5080 w 5087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7" h="10000">
                <a:moveTo>
                  <a:pt x="5080" y="1"/>
                </a:moveTo>
                <a:cubicBezTo>
                  <a:pt x="5082" y="1"/>
                  <a:pt x="5085" y="0"/>
                  <a:pt x="5087" y="0"/>
                </a:cubicBezTo>
                <a:cubicBezTo>
                  <a:pt x="5075" y="3333"/>
                  <a:pt x="5063" y="6667"/>
                  <a:pt x="5051" y="10000"/>
                </a:cubicBez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51013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18469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66024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>
              <a:solidFill>
                <a:schemeClr val="bg1"/>
              </a:solidFill>
            </a:endParaRP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275781" y="3144335"/>
            <a:ext cx="3594692" cy="618562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079 w 10000"/>
              <a:gd name="connsiteY1" fmla="*/ 36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080"/>
              <a:gd name="connsiteY0" fmla="*/ 0 h 10000"/>
              <a:gd name="connsiteX1" fmla="*/ 5079 w 5080"/>
              <a:gd name="connsiteY1" fmla="*/ 36 h 10000"/>
              <a:gd name="connsiteX2" fmla="*/ 5057 w 5080"/>
              <a:gd name="connsiteY2" fmla="*/ 10000 h 10000"/>
              <a:gd name="connsiteX3" fmla="*/ 0 w 5080"/>
              <a:gd name="connsiteY3" fmla="*/ 10000 h 10000"/>
              <a:gd name="connsiteX4" fmla="*/ 5080 w 508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0" h="10000">
                <a:moveTo>
                  <a:pt x="5080" y="0"/>
                </a:moveTo>
                <a:cubicBezTo>
                  <a:pt x="5080" y="12"/>
                  <a:pt x="5079" y="24"/>
                  <a:pt x="5079" y="36"/>
                </a:cubicBezTo>
                <a:cubicBezTo>
                  <a:pt x="5072" y="3357"/>
                  <a:pt x="5064" y="6679"/>
                  <a:pt x="5057" y="10000"/>
                </a:cubicBezTo>
                <a:lnTo>
                  <a:pt x="0" y="10000"/>
                </a:lnTo>
                <a:lnTo>
                  <a:pt x="508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51013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18469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531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o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73BFF90-BFA2-46B0-AA10-4D7E40BABA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47559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7476A54-0D31-435C-B458-6AB05BEDD0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17838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59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o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3" y="9469964"/>
            <a:ext cx="428532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DF0EB19-25A9-4C20-BC31-BEDA0DB1EA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47838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Chapter divider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535F205-A5D6-4C6B-8A90-FB61A586B3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20219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175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6CD0EF0-B6FD-474E-994C-AFE49DE5E601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D92883D4-170F-449D-8FFB-B99E523196EB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C0D0DE3-62A2-48AB-98DB-B3396F82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3" y="9469964"/>
            <a:ext cx="428532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7264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6CD0EF0-B6FD-474E-994C-AFE49DE5E601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D92883D4-170F-449D-8FFB-B99E523196EB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C0D0DE3-62A2-48AB-98DB-B3396F82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3" y="9469964"/>
            <a:ext cx="428532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F816AE69-EF7D-4D9A-9499-C8434D2D29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9651" y="411017"/>
            <a:ext cx="5879399" cy="8544072"/>
          </a:xfrm>
          <a:noFill/>
        </p:spPr>
        <p:txBody>
          <a:bodyPr lIns="90000" tIns="46800" rIns="90000" bIns="46800" anchor="ctr" anchorCtr="1"/>
          <a:lstStyle>
            <a:lvl1pPr marL="0" indent="0" algn="l">
              <a:buNone/>
              <a:defRPr sz="1000"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978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CEAD9A3A-264B-433F-8381-59F842C37978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6CD0EF0-B6FD-474E-994C-AFE49DE5E601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D92883D4-170F-449D-8FFB-B99E523196EB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C0D0DE3-62A2-48AB-98DB-B3396F82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3" y="9469964"/>
            <a:ext cx="428532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D64AB5C-0549-4D17-A7E2-D5ABAF4951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1" y="3853165"/>
            <a:ext cx="5880100" cy="1029235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D67DE7A-FDE6-482F-B0DD-44FF28AE785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8950" y="5023600"/>
            <a:ext cx="3567868" cy="247891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0249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CEAD9A3A-264B-433F-8381-59F842C37978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6CD0EF0-B6FD-474E-994C-AFE49DE5E601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D92883D4-170F-449D-8FFB-B99E523196EB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C0D0DE3-62A2-48AB-98DB-B3396F82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3" y="9469964"/>
            <a:ext cx="428532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D64AB5C-0549-4D17-A7E2-D5ABAF4951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49" y="3853165"/>
            <a:ext cx="5981649" cy="1029235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D67DE7A-FDE6-482F-B0DD-44FF28AE785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8949" y="5023600"/>
            <a:ext cx="3567869" cy="247891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658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0">
            <a:extLst>
              <a:ext uri="{FF2B5EF4-FFF2-40B4-BE49-F238E27FC236}">
                <a16:creationId xmlns:a16="http://schemas.microsoft.com/office/drawing/2014/main" id="{DA0E38D1-FA8D-48D6-A6C2-E5ED71E9BC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30" y="416840"/>
            <a:ext cx="1959513" cy="475495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BB40D78D-2426-4622-98E8-3641FA11F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731" y="1350754"/>
            <a:ext cx="4598323" cy="1267033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6DE34ED8-09DB-48A1-B08E-827E322AB8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48000"/>
            <a:ext cx="4045305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03D94B90-8C09-409F-A922-81F8181671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29265" y="571380"/>
            <a:ext cx="5428735" cy="93346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245 w 10000"/>
              <a:gd name="connsiteY1" fmla="*/ 7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245"/>
              <a:gd name="connsiteY0" fmla="*/ 0 h 10008"/>
              <a:gd name="connsiteX1" fmla="*/ 5245 w 5245"/>
              <a:gd name="connsiteY1" fmla="*/ 7 h 10008"/>
              <a:gd name="connsiteX2" fmla="*/ 5166 w 5245"/>
              <a:gd name="connsiteY2" fmla="*/ 10008 h 10008"/>
              <a:gd name="connsiteX3" fmla="*/ 0 w 5245"/>
              <a:gd name="connsiteY3" fmla="*/ 10000 h 10008"/>
              <a:gd name="connsiteX4" fmla="*/ 5080 w 5245"/>
              <a:gd name="connsiteY4" fmla="*/ 0 h 10008"/>
              <a:gd name="connsiteX0" fmla="*/ 9685 w 10000"/>
              <a:gd name="connsiteY0" fmla="*/ 0 h 10000"/>
              <a:gd name="connsiteX1" fmla="*/ 10000 w 10000"/>
              <a:gd name="connsiteY1" fmla="*/ 7 h 10000"/>
              <a:gd name="connsiteX2" fmla="*/ 9849 w 10000"/>
              <a:gd name="connsiteY2" fmla="*/ 10000 h 10000"/>
              <a:gd name="connsiteX3" fmla="*/ 0 w 10000"/>
              <a:gd name="connsiteY3" fmla="*/ 9992 h 10000"/>
              <a:gd name="connsiteX4" fmla="*/ 9685 w 10000"/>
              <a:gd name="connsiteY4" fmla="*/ 0 h 10000"/>
              <a:gd name="connsiteX0" fmla="*/ 9685 w 9855"/>
              <a:gd name="connsiteY0" fmla="*/ 1 h 10001"/>
              <a:gd name="connsiteX1" fmla="*/ 9698 w 9855"/>
              <a:gd name="connsiteY1" fmla="*/ 0 h 10001"/>
              <a:gd name="connsiteX2" fmla="*/ 9849 w 9855"/>
              <a:gd name="connsiteY2" fmla="*/ 10001 h 10001"/>
              <a:gd name="connsiteX3" fmla="*/ 0 w 9855"/>
              <a:gd name="connsiteY3" fmla="*/ 9993 h 10001"/>
              <a:gd name="connsiteX4" fmla="*/ 9685 w 9855"/>
              <a:gd name="connsiteY4" fmla="*/ 1 h 10001"/>
              <a:gd name="connsiteX0" fmla="*/ 9827 w 9851"/>
              <a:gd name="connsiteY0" fmla="*/ 1 h 9997"/>
              <a:gd name="connsiteX1" fmla="*/ 9841 w 9851"/>
              <a:gd name="connsiteY1" fmla="*/ 0 h 9997"/>
              <a:gd name="connsiteX2" fmla="*/ 9839 w 9851"/>
              <a:gd name="connsiteY2" fmla="*/ 9997 h 9997"/>
              <a:gd name="connsiteX3" fmla="*/ 0 w 9851"/>
              <a:gd name="connsiteY3" fmla="*/ 9992 h 9997"/>
              <a:gd name="connsiteX4" fmla="*/ 9827 w 9851"/>
              <a:gd name="connsiteY4" fmla="*/ 1 h 9997"/>
              <a:gd name="connsiteX0" fmla="*/ 9976 w 9990"/>
              <a:gd name="connsiteY0" fmla="*/ 1 h 10000"/>
              <a:gd name="connsiteX1" fmla="*/ 9990 w 9990"/>
              <a:gd name="connsiteY1" fmla="*/ 0 h 10000"/>
              <a:gd name="connsiteX2" fmla="*/ 9988 w 9990"/>
              <a:gd name="connsiteY2" fmla="*/ 10000 h 10000"/>
              <a:gd name="connsiteX3" fmla="*/ 0 w 9990"/>
              <a:gd name="connsiteY3" fmla="*/ 9995 h 10000"/>
              <a:gd name="connsiteX4" fmla="*/ 9976 w 999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0" h="10000">
                <a:moveTo>
                  <a:pt x="9976" y="1"/>
                </a:moveTo>
                <a:cubicBezTo>
                  <a:pt x="9981" y="1"/>
                  <a:pt x="9986" y="0"/>
                  <a:pt x="9990" y="0"/>
                </a:cubicBezTo>
                <a:cubicBezTo>
                  <a:pt x="9989" y="3333"/>
                  <a:pt x="9989" y="6667"/>
                  <a:pt x="9988" y="10000"/>
                </a:cubicBezTo>
                <a:lnTo>
                  <a:pt x="0" y="9995"/>
                </a:lnTo>
                <a:lnTo>
                  <a:pt x="9976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3982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o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9271F98-835F-4F86-A6A7-076870DA57BB}"/>
              </a:ext>
            </a:extLst>
          </p:cNvPr>
          <p:cNvSpPr/>
          <p:nvPr userDrawn="1"/>
        </p:nvSpPr>
        <p:spPr>
          <a:xfrm>
            <a:off x="685682" y="2718"/>
            <a:ext cx="6172318" cy="9903281"/>
          </a:xfrm>
          <a:custGeom>
            <a:avLst/>
            <a:gdLst>
              <a:gd name="connsiteX0" fmla="*/ 6803838 w 6803838"/>
              <a:gd name="connsiteY0" fmla="*/ 0 h 10688878"/>
              <a:gd name="connsiteX1" fmla="*/ 6803838 w 6803838"/>
              <a:gd name="connsiteY1" fmla="*/ 10688878 h 10688878"/>
              <a:gd name="connsiteX2" fmla="*/ 0 w 6803838"/>
              <a:gd name="connsiteY2" fmla="*/ 10688878 h 10688878"/>
              <a:gd name="connsiteX3" fmla="*/ 6170811 w 6803838"/>
              <a:gd name="connsiteY3" fmla="*/ 1644 h 10688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3838" h="10688878">
                <a:moveTo>
                  <a:pt x="6803838" y="0"/>
                </a:moveTo>
                <a:lnTo>
                  <a:pt x="6803838" y="10688878"/>
                </a:lnTo>
                <a:lnTo>
                  <a:pt x="0" y="10688878"/>
                </a:lnTo>
                <a:lnTo>
                  <a:pt x="6170811" y="164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3200" noProof="0"/>
          </a:p>
        </p:txBody>
      </p:sp>
      <p:pic>
        <p:nvPicPr>
          <p:cNvPr id="9" name="Picture 30">
            <a:extLst>
              <a:ext uri="{FF2B5EF4-FFF2-40B4-BE49-F238E27FC236}">
                <a16:creationId xmlns:a16="http://schemas.microsoft.com/office/drawing/2014/main" id="{4A62FD52-1B4C-4636-BEB4-B7E53E7FF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30" y="416840"/>
            <a:ext cx="1959513" cy="475495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9FF38E8C-EE6A-4847-9B17-87F6973659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350755"/>
            <a:ext cx="3630542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2600BA09-721D-4E27-B411-5777C708D8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2618211"/>
            <a:ext cx="3630542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8502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o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9271F98-835F-4F86-A6A7-076870DA57BB}"/>
              </a:ext>
            </a:extLst>
          </p:cNvPr>
          <p:cNvSpPr/>
          <p:nvPr userDrawn="1"/>
        </p:nvSpPr>
        <p:spPr>
          <a:xfrm>
            <a:off x="1699141" y="779959"/>
            <a:ext cx="5218414" cy="9126041"/>
          </a:xfrm>
          <a:custGeom>
            <a:avLst/>
            <a:gdLst>
              <a:gd name="connsiteX0" fmla="*/ 6803838 w 6803838"/>
              <a:gd name="connsiteY0" fmla="*/ 0 h 10688878"/>
              <a:gd name="connsiteX1" fmla="*/ 6803838 w 6803838"/>
              <a:gd name="connsiteY1" fmla="*/ 10688878 h 10688878"/>
              <a:gd name="connsiteX2" fmla="*/ 0 w 6803838"/>
              <a:gd name="connsiteY2" fmla="*/ 10688878 h 10688878"/>
              <a:gd name="connsiteX3" fmla="*/ 6170811 w 6803838"/>
              <a:gd name="connsiteY3" fmla="*/ 1644 h 10688878"/>
              <a:gd name="connsiteX0" fmla="*/ 6803838 w 6803838"/>
              <a:gd name="connsiteY0" fmla="*/ 0 h 10688878"/>
              <a:gd name="connsiteX1" fmla="*/ 6803838 w 6803838"/>
              <a:gd name="connsiteY1" fmla="*/ 10688878 h 10688878"/>
              <a:gd name="connsiteX2" fmla="*/ 0 w 6803838"/>
              <a:gd name="connsiteY2" fmla="*/ 10688878 h 10688878"/>
              <a:gd name="connsiteX3" fmla="*/ 5692032 w 6803838"/>
              <a:gd name="connsiteY3" fmla="*/ 840540 h 10688878"/>
              <a:gd name="connsiteX4" fmla="*/ 6803838 w 6803838"/>
              <a:gd name="connsiteY4" fmla="*/ 0 h 10688878"/>
              <a:gd name="connsiteX0" fmla="*/ 5686686 w 6803838"/>
              <a:gd name="connsiteY0" fmla="*/ 0 h 9849982"/>
              <a:gd name="connsiteX1" fmla="*/ 6803838 w 6803838"/>
              <a:gd name="connsiteY1" fmla="*/ 9849982 h 9849982"/>
              <a:gd name="connsiteX2" fmla="*/ 0 w 6803838"/>
              <a:gd name="connsiteY2" fmla="*/ 9849982 h 9849982"/>
              <a:gd name="connsiteX3" fmla="*/ 5692032 w 6803838"/>
              <a:gd name="connsiteY3" fmla="*/ 1644 h 9849982"/>
              <a:gd name="connsiteX4" fmla="*/ 5686686 w 6803838"/>
              <a:gd name="connsiteY4" fmla="*/ 0 h 9849982"/>
              <a:gd name="connsiteX0" fmla="*/ 5686686 w 5752337"/>
              <a:gd name="connsiteY0" fmla="*/ 0 h 9849982"/>
              <a:gd name="connsiteX1" fmla="*/ 5560691 w 5752337"/>
              <a:gd name="connsiteY1" fmla="*/ 9849982 h 9849982"/>
              <a:gd name="connsiteX2" fmla="*/ 0 w 5752337"/>
              <a:gd name="connsiteY2" fmla="*/ 9849982 h 9849982"/>
              <a:gd name="connsiteX3" fmla="*/ 5692032 w 5752337"/>
              <a:gd name="connsiteY3" fmla="*/ 1644 h 9849982"/>
              <a:gd name="connsiteX4" fmla="*/ 5686686 w 5752337"/>
              <a:gd name="connsiteY4" fmla="*/ 0 h 9849982"/>
              <a:gd name="connsiteX0" fmla="*/ 5686686 w 5752336"/>
              <a:gd name="connsiteY0" fmla="*/ 0 h 9849982"/>
              <a:gd name="connsiteX1" fmla="*/ 5686686 w 5752336"/>
              <a:gd name="connsiteY1" fmla="*/ 9849982 h 9849982"/>
              <a:gd name="connsiteX2" fmla="*/ 0 w 5752336"/>
              <a:gd name="connsiteY2" fmla="*/ 9849982 h 9849982"/>
              <a:gd name="connsiteX3" fmla="*/ 5692032 w 5752336"/>
              <a:gd name="connsiteY3" fmla="*/ 1644 h 9849982"/>
              <a:gd name="connsiteX4" fmla="*/ 5686686 w 5752336"/>
              <a:gd name="connsiteY4" fmla="*/ 0 h 9849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52336" h="9849982">
                <a:moveTo>
                  <a:pt x="5686686" y="0"/>
                </a:moveTo>
                <a:lnTo>
                  <a:pt x="5686686" y="9849982"/>
                </a:lnTo>
                <a:lnTo>
                  <a:pt x="0" y="9849982"/>
                </a:lnTo>
                <a:lnTo>
                  <a:pt x="5692032" y="1644"/>
                </a:lnTo>
                <a:cubicBezTo>
                  <a:pt x="5903041" y="1096"/>
                  <a:pt x="5475677" y="548"/>
                  <a:pt x="568668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3200" noProof="0"/>
          </a:p>
        </p:txBody>
      </p:sp>
      <p:pic>
        <p:nvPicPr>
          <p:cNvPr id="9" name="Picture 30">
            <a:extLst>
              <a:ext uri="{FF2B5EF4-FFF2-40B4-BE49-F238E27FC236}">
                <a16:creationId xmlns:a16="http://schemas.microsoft.com/office/drawing/2014/main" id="{4A62FD52-1B4C-4636-BEB4-B7E53E7FF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30" y="416840"/>
            <a:ext cx="1959513" cy="47549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97736864-3868-4EFB-B452-AA8555565B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731" y="1350754"/>
            <a:ext cx="4598323" cy="1267033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802D7403-B7FA-4517-9FEB-85B6D36046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48000"/>
            <a:ext cx="4045305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2089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agement Summar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052D478-4D54-4A73-84E4-771591C2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651" y="368302"/>
            <a:ext cx="5878698" cy="11340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Management Summary </a:t>
            </a:r>
            <a:endParaRPr lang="en-GB" noProof="0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4F938589-E0BC-4C03-95E9-9E66AEF25B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651" y="1750281"/>
            <a:ext cx="5878698" cy="7205567"/>
          </a:xfrm>
        </p:spPr>
        <p:txBody>
          <a:bodyPr/>
          <a:lstStyle>
            <a:lvl1pPr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9817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agement Summar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052D478-4D54-4A73-84E4-771591C2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9651" y="368302"/>
            <a:ext cx="5878698" cy="1134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Management Summary </a:t>
            </a:r>
            <a:endParaRPr lang="en-GB" noProof="0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4F938589-E0BC-4C03-95E9-9E66AEF25B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651" y="1750281"/>
            <a:ext cx="5878698" cy="7205567"/>
          </a:xfrm>
        </p:spPr>
        <p:txBody>
          <a:bodyPr/>
          <a:lstStyle>
            <a:lvl1pPr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defRPr sz="1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0309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36327" y="0"/>
            <a:ext cx="5428735" cy="93346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245 w 10000"/>
              <a:gd name="connsiteY1" fmla="*/ 7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245"/>
              <a:gd name="connsiteY0" fmla="*/ 0 h 10008"/>
              <a:gd name="connsiteX1" fmla="*/ 5245 w 5245"/>
              <a:gd name="connsiteY1" fmla="*/ 7 h 10008"/>
              <a:gd name="connsiteX2" fmla="*/ 5166 w 5245"/>
              <a:gd name="connsiteY2" fmla="*/ 10008 h 10008"/>
              <a:gd name="connsiteX3" fmla="*/ 0 w 5245"/>
              <a:gd name="connsiteY3" fmla="*/ 10000 h 10008"/>
              <a:gd name="connsiteX4" fmla="*/ 5080 w 5245"/>
              <a:gd name="connsiteY4" fmla="*/ 0 h 10008"/>
              <a:gd name="connsiteX0" fmla="*/ 9685 w 10000"/>
              <a:gd name="connsiteY0" fmla="*/ 0 h 10000"/>
              <a:gd name="connsiteX1" fmla="*/ 10000 w 10000"/>
              <a:gd name="connsiteY1" fmla="*/ 7 h 10000"/>
              <a:gd name="connsiteX2" fmla="*/ 9849 w 10000"/>
              <a:gd name="connsiteY2" fmla="*/ 10000 h 10000"/>
              <a:gd name="connsiteX3" fmla="*/ 0 w 10000"/>
              <a:gd name="connsiteY3" fmla="*/ 9992 h 10000"/>
              <a:gd name="connsiteX4" fmla="*/ 9685 w 10000"/>
              <a:gd name="connsiteY4" fmla="*/ 0 h 10000"/>
              <a:gd name="connsiteX0" fmla="*/ 9685 w 9855"/>
              <a:gd name="connsiteY0" fmla="*/ 1 h 10001"/>
              <a:gd name="connsiteX1" fmla="*/ 9698 w 9855"/>
              <a:gd name="connsiteY1" fmla="*/ 0 h 10001"/>
              <a:gd name="connsiteX2" fmla="*/ 9849 w 9855"/>
              <a:gd name="connsiteY2" fmla="*/ 10001 h 10001"/>
              <a:gd name="connsiteX3" fmla="*/ 0 w 9855"/>
              <a:gd name="connsiteY3" fmla="*/ 9993 h 10001"/>
              <a:gd name="connsiteX4" fmla="*/ 9685 w 9855"/>
              <a:gd name="connsiteY4" fmla="*/ 1 h 10001"/>
              <a:gd name="connsiteX0" fmla="*/ 9827 w 9851"/>
              <a:gd name="connsiteY0" fmla="*/ 1 h 9997"/>
              <a:gd name="connsiteX1" fmla="*/ 9841 w 9851"/>
              <a:gd name="connsiteY1" fmla="*/ 0 h 9997"/>
              <a:gd name="connsiteX2" fmla="*/ 9839 w 9851"/>
              <a:gd name="connsiteY2" fmla="*/ 9997 h 9997"/>
              <a:gd name="connsiteX3" fmla="*/ 0 w 9851"/>
              <a:gd name="connsiteY3" fmla="*/ 9992 h 9997"/>
              <a:gd name="connsiteX4" fmla="*/ 9827 w 9851"/>
              <a:gd name="connsiteY4" fmla="*/ 1 h 9997"/>
              <a:gd name="connsiteX0" fmla="*/ 9976 w 9990"/>
              <a:gd name="connsiteY0" fmla="*/ 1 h 10000"/>
              <a:gd name="connsiteX1" fmla="*/ 9990 w 9990"/>
              <a:gd name="connsiteY1" fmla="*/ 0 h 10000"/>
              <a:gd name="connsiteX2" fmla="*/ 9988 w 9990"/>
              <a:gd name="connsiteY2" fmla="*/ 10000 h 10000"/>
              <a:gd name="connsiteX3" fmla="*/ 0 w 9990"/>
              <a:gd name="connsiteY3" fmla="*/ 9995 h 10000"/>
              <a:gd name="connsiteX4" fmla="*/ 9976 w 999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0" h="10000">
                <a:moveTo>
                  <a:pt x="9976" y="1"/>
                </a:moveTo>
                <a:cubicBezTo>
                  <a:pt x="9981" y="1"/>
                  <a:pt x="9986" y="0"/>
                  <a:pt x="9990" y="0"/>
                </a:cubicBezTo>
                <a:cubicBezTo>
                  <a:pt x="9989" y="3333"/>
                  <a:pt x="9989" y="6667"/>
                  <a:pt x="9988" y="10000"/>
                </a:cubicBezTo>
                <a:lnTo>
                  <a:pt x="0" y="9995"/>
                </a:lnTo>
                <a:lnTo>
                  <a:pt x="9976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942344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2209800"/>
            <a:ext cx="3265855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</a:t>
            </a:r>
            <a:br>
              <a:rPr lang="en-GB" noProof="0" dirty="0"/>
            </a:br>
            <a:r>
              <a:rPr lang="en-GB" noProof="0" dirty="0"/>
              <a:t>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2193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77671" y="1751771"/>
            <a:ext cx="4403961" cy="75857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069 w 10000"/>
              <a:gd name="connsiteY1" fmla="*/ 9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080"/>
              <a:gd name="connsiteY0" fmla="*/ 0 h 10010"/>
              <a:gd name="connsiteX1" fmla="*/ 5069 w 5080"/>
              <a:gd name="connsiteY1" fmla="*/ 9 h 10010"/>
              <a:gd name="connsiteX2" fmla="*/ 5043 w 5080"/>
              <a:gd name="connsiteY2" fmla="*/ 10010 h 10010"/>
              <a:gd name="connsiteX3" fmla="*/ 0 w 5080"/>
              <a:gd name="connsiteY3" fmla="*/ 10000 h 10010"/>
              <a:gd name="connsiteX4" fmla="*/ 5080 w 5080"/>
              <a:gd name="connsiteY4" fmla="*/ 0 h 10010"/>
              <a:gd name="connsiteX0" fmla="*/ 10000 w 10000"/>
              <a:gd name="connsiteY0" fmla="*/ 0 h 10000"/>
              <a:gd name="connsiteX1" fmla="*/ 9978 w 10000"/>
              <a:gd name="connsiteY1" fmla="*/ 9 h 10000"/>
              <a:gd name="connsiteX2" fmla="*/ 9927 w 10000"/>
              <a:gd name="connsiteY2" fmla="*/ 10000 h 10000"/>
              <a:gd name="connsiteX3" fmla="*/ 0 w 10000"/>
              <a:gd name="connsiteY3" fmla="*/ 9990 h 10000"/>
              <a:gd name="connsiteX4" fmla="*/ 1000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cubicBezTo>
                  <a:pt x="9992" y="3"/>
                  <a:pt x="9986" y="6"/>
                  <a:pt x="9978" y="9"/>
                </a:cubicBezTo>
                <a:cubicBezTo>
                  <a:pt x="9961" y="3339"/>
                  <a:pt x="9944" y="6670"/>
                  <a:pt x="9927" y="10000"/>
                </a:cubicBezTo>
                <a:lnTo>
                  <a:pt x="0" y="999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10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51013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18469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0262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92CA1C8B-90FB-4A44-9D2D-56A12CE193BC}"/>
              </a:ext>
            </a:extLst>
          </p:cNvPr>
          <p:cNvSpPr/>
          <p:nvPr userDrawn="1"/>
        </p:nvSpPr>
        <p:spPr>
          <a:xfrm>
            <a:off x="0" y="1"/>
            <a:ext cx="6857999" cy="9330171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723235C-2CBE-4C09-8FE2-637DD50682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275781" y="3144335"/>
            <a:ext cx="3601768" cy="619304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0 h 9999"/>
              <a:gd name="connsiteX1" fmla="*/ 5090 w 10000"/>
              <a:gd name="connsiteY1" fmla="*/ 24 h 9999"/>
              <a:gd name="connsiteX2" fmla="*/ 10000 w 10000"/>
              <a:gd name="connsiteY2" fmla="*/ 9999 h 9999"/>
              <a:gd name="connsiteX3" fmla="*/ 0 w 10000"/>
              <a:gd name="connsiteY3" fmla="*/ 9999 h 9999"/>
              <a:gd name="connsiteX4" fmla="*/ 5080 w 10000"/>
              <a:gd name="connsiteY4" fmla="*/ 0 h 9999"/>
              <a:gd name="connsiteX0" fmla="*/ 5080 w 5090"/>
              <a:gd name="connsiteY0" fmla="*/ 0 h 10012"/>
              <a:gd name="connsiteX1" fmla="*/ 5090 w 5090"/>
              <a:gd name="connsiteY1" fmla="*/ 24 h 10012"/>
              <a:gd name="connsiteX2" fmla="*/ 5057 w 5090"/>
              <a:gd name="connsiteY2" fmla="*/ 10012 h 10012"/>
              <a:gd name="connsiteX3" fmla="*/ 0 w 5090"/>
              <a:gd name="connsiteY3" fmla="*/ 10000 h 10012"/>
              <a:gd name="connsiteX4" fmla="*/ 5080 w 5090"/>
              <a:gd name="connsiteY4" fmla="*/ 0 h 1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0" h="10012">
                <a:moveTo>
                  <a:pt x="5080" y="0"/>
                </a:moveTo>
                <a:cubicBezTo>
                  <a:pt x="5083" y="8"/>
                  <a:pt x="5087" y="16"/>
                  <a:pt x="5090" y="24"/>
                </a:cubicBezTo>
                <a:cubicBezTo>
                  <a:pt x="5079" y="3353"/>
                  <a:pt x="5068" y="6683"/>
                  <a:pt x="5057" y="10012"/>
                </a:cubicBezTo>
                <a:lnTo>
                  <a:pt x="0" y="10000"/>
                </a:lnTo>
                <a:lnTo>
                  <a:pt x="508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algn="r">
              <a:defRPr sz="9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CAC6343-930F-40E7-A298-2FB295512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3134" y="9469964"/>
            <a:ext cx="3870556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| Month 202x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01AC87-EDAA-4546-82AC-504A19673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1A98BA4-7E80-4BF7-A0CE-D026832DD716}"/>
              </a:ext>
            </a:extLst>
          </p:cNvPr>
          <p:cNvSpPr txBox="1">
            <a:spLocks/>
          </p:cNvSpPr>
          <p:nvPr userDrawn="1"/>
        </p:nvSpPr>
        <p:spPr>
          <a:xfrm>
            <a:off x="6237013" y="9469964"/>
            <a:ext cx="457270" cy="1518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17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A45287E-1AB5-4040-BB79-DC9F2E3948AC}"/>
              </a:ext>
            </a:extLst>
          </p:cNvPr>
          <p:cNvSpPr/>
          <p:nvPr userDrawn="1"/>
        </p:nvSpPr>
        <p:spPr>
          <a:xfrm>
            <a:off x="6052562" y="9452627"/>
            <a:ext cx="131218" cy="173149"/>
          </a:xfrm>
          <a:prstGeom prst="parallelogram">
            <a:avLst>
              <a:gd name="adj" fmla="val 917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4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6B4EA80-0888-4D41-9548-8AC857E74A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9730" y="1751013"/>
            <a:ext cx="4539470" cy="11340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00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hapter divider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5FF3FDFA-72B3-493F-8C27-3DCE411C61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730" y="3018469"/>
            <a:ext cx="2678001" cy="933915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spc="5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1500" spc="50" baseline="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subtitle of Chapter Divi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8053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50059726"/>
              </p:ext>
            </p:extLst>
          </p:nvPr>
        </p:nvGraphicFramePr>
        <p:xfrm>
          <a:off x="895" y="2307"/>
          <a:ext cx="893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1" imgH="422" progId="TCLayout.ActiveDocument.1">
                  <p:embed/>
                </p:oleObj>
              </mc:Choice>
              <mc:Fallback>
                <p:oleObj name="think-cell Slide" r:id="rId23" imgW="411" imgH="42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95" y="2307"/>
                        <a:ext cx="893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9651" y="368302"/>
            <a:ext cx="5878698" cy="11340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9651" y="1750281"/>
            <a:ext cx="5878698" cy="72055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C68EF4-D394-4242-8CDD-6A289B5DC428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1" y="9442599"/>
            <a:ext cx="783805" cy="190198"/>
          </a:xfrm>
          <a:prstGeom prst="rect">
            <a:avLst/>
          </a:prstGeom>
        </p:spPr>
      </p:pic>
    </p:spTree>
    <p:custDataLst>
      <p:tags r:id="rId21"/>
    </p:custDataLst>
    <p:extLst>
      <p:ext uri="{BB962C8B-B14F-4D97-AF65-F5344CB8AC3E}">
        <p14:creationId xmlns:p14="http://schemas.microsoft.com/office/powerpoint/2010/main" val="324629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1" r:id="rId2"/>
    <p:sldLayoutId id="2147483682" r:id="rId3"/>
    <p:sldLayoutId id="2147483662" r:id="rId4"/>
    <p:sldLayoutId id="2147483679" r:id="rId5"/>
    <p:sldLayoutId id="2147483680" r:id="rId6"/>
    <p:sldLayoutId id="2147483663" r:id="rId7"/>
    <p:sldLayoutId id="2147483675" r:id="rId8"/>
    <p:sldLayoutId id="2147483674" r:id="rId9"/>
    <p:sldLayoutId id="2147483669" r:id="rId10"/>
    <p:sldLayoutId id="2147483676" r:id="rId11"/>
    <p:sldLayoutId id="2147483677" r:id="rId12"/>
    <p:sldLayoutId id="2147483678" r:id="rId13"/>
    <p:sldLayoutId id="2147483665" r:id="rId14"/>
    <p:sldLayoutId id="2147483664" r:id="rId15"/>
    <p:sldLayoutId id="2147483650" r:id="rId16"/>
    <p:sldLayoutId id="2147483666" r:id="rId17"/>
    <p:sldLayoutId id="2147483667" r:id="rId18"/>
    <p:sldLayoutId id="2147483668" r:id="rId19"/>
  </p:sldLayoutIdLst>
  <p:hf sldNum="0" hdr="0" dt="0"/>
  <p:txStyles>
    <p:titleStyle>
      <a:lvl1pPr algn="l" defTabSz="756097" rtl="0" eaLnBrk="1" latinLnBrk="0" hangingPunct="1">
        <a:lnSpc>
          <a:spcPct val="90000"/>
        </a:lnSpc>
        <a:spcBef>
          <a:spcPct val="0"/>
        </a:spcBef>
        <a:buNone/>
        <a:defRPr sz="3000" kern="1200" cap="all" spc="0" baseline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75609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756097" rtl="0" eaLnBrk="1" latinLnBrk="0" hangingPunct="1">
        <a:lnSpc>
          <a:spcPct val="110000"/>
        </a:lnSpc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16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32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48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648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756097" rtl="0" eaLnBrk="1" latinLnBrk="0" hangingPunct="1">
        <a:lnSpc>
          <a:spcPct val="110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8048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6097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4144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2192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90241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8289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6337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4385" algn="l" defTabSz="75609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8" userDrawn="1">
          <p15:clr>
            <a:srgbClr val="F26B43"/>
          </p15:clr>
        </p15:guide>
        <p15:guide id="2" pos="2077" userDrawn="1">
          <p15:clr>
            <a:srgbClr val="F26B43"/>
          </p15:clr>
        </p15:guide>
        <p15:guide id="3" pos="2243" userDrawn="1">
          <p15:clr>
            <a:srgbClr val="F26B43"/>
          </p15:clr>
        </p15:guide>
        <p15:guide id="4" pos="4012" userDrawn="1">
          <p15:clr>
            <a:srgbClr val="F26B43"/>
          </p15:clr>
        </p15:guide>
        <p15:guide id="5" pos="308" userDrawn="1">
          <p15:clr>
            <a:srgbClr val="F26B43"/>
          </p15:clr>
        </p15:guide>
        <p15:guide id="6" orient="horz" pos="5641" userDrawn="1">
          <p15:clr>
            <a:srgbClr val="F26B43"/>
          </p15:clr>
        </p15:guide>
        <p15:guide id="8" orient="horz" pos="227" userDrawn="1">
          <p15:clr>
            <a:srgbClr val="F26B43"/>
          </p15:clr>
        </p15:guide>
        <p15:guide id="9" orient="horz" pos="1099" userDrawn="1">
          <p15:clr>
            <a:srgbClr val="F26B43"/>
          </p15:clr>
        </p15:guide>
        <p15:guide id="10" orient="horz" pos="261" userDrawn="1">
          <p15:clr>
            <a:srgbClr val="F26B43"/>
          </p15:clr>
        </p15:guide>
        <p15:guide id="11" orient="horz" pos="851" userDrawn="1">
          <p15:clr>
            <a:srgbClr val="F26B43"/>
          </p15:clr>
        </p15:guide>
        <p15:guide id="12" orient="horz" pos="1649" userDrawn="1">
          <p15:clr>
            <a:srgbClr val="F26B43"/>
          </p15:clr>
        </p15:guide>
        <p15:guide id="13" orient="horz" pos="593" userDrawn="1">
          <p15:clr>
            <a:srgbClr val="F26B43"/>
          </p15:clr>
        </p15:guide>
        <p15:guide id="14" orient="horz" pos="1392" userDrawn="1">
          <p15:clr>
            <a:srgbClr val="F26B43"/>
          </p15:clr>
        </p15:guide>
        <p15:guide id="15" orient="horz" pos="19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png"/><Relationship Id="rId18" Type="http://schemas.openxmlformats.org/officeDocument/2006/relationships/image" Target="../media/image12.png"/><Relationship Id="rId3" Type="http://schemas.openxmlformats.org/officeDocument/2006/relationships/tags" Target="../tags/tag25.xml"/><Relationship Id="rId21" Type="http://schemas.openxmlformats.org/officeDocument/2006/relationships/image" Target="../media/image14.png"/><Relationship Id="rId7" Type="http://schemas.openxmlformats.org/officeDocument/2006/relationships/image" Target="../media/image4.jpeg"/><Relationship Id="rId12" Type="http://schemas.microsoft.com/office/2007/relationships/hdphoto" Target="../media/hdphoto2.wdp"/><Relationship Id="rId17" Type="http://schemas.openxmlformats.org/officeDocument/2006/relationships/image" Target="../media/image11.png"/><Relationship Id="rId2" Type="http://schemas.openxmlformats.org/officeDocument/2006/relationships/tags" Target="../tags/tag24.xml"/><Relationship Id="rId16" Type="http://schemas.openxmlformats.org/officeDocument/2006/relationships/image" Target="../media/image10.png"/><Relationship Id="rId20" Type="http://schemas.openxmlformats.org/officeDocument/2006/relationships/image" Target="../media/image13.png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24" Type="http://schemas.microsoft.com/office/2007/relationships/hdphoto" Target="../media/hdphoto6.wdp"/><Relationship Id="rId5" Type="http://schemas.openxmlformats.org/officeDocument/2006/relationships/oleObject" Target="../embeddings/oleObject2.bin"/><Relationship Id="rId15" Type="http://schemas.microsoft.com/office/2007/relationships/hdphoto" Target="../media/hdphoto3.wdp"/><Relationship Id="rId23" Type="http://schemas.openxmlformats.org/officeDocument/2006/relationships/image" Target="../media/image15.png"/><Relationship Id="rId10" Type="http://schemas.openxmlformats.org/officeDocument/2006/relationships/image" Target="../media/image6.png"/><Relationship Id="rId19" Type="http://schemas.microsoft.com/office/2007/relationships/hdphoto" Target="../media/hdphoto4.wdp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Relationship Id="rId14" Type="http://schemas.openxmlformats.org/officeDocument/2006/relationships/image" Target="../media/image9.png"/><Relationship Id="rId22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5938A0B-3B0A-4F4A-9CED-C569115A4A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63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5938A0B-3B0A-4F4A-9CED-C569115A4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544EA3F-1243-1F0E-F917-3551F7256885}"/>
              </a:ext>
            </a:extLst>
          </p:cNvPr>
          <p:cNvSpPr/>
          <p:nvPr/>
        </p:nvSpPr>
        <p:spPr>
          <a:xfrm>
            <a:off x="903" y="0"/>
            <a:ext cx="6857096" cy="2194560"/>
          </a:xfrm>
          <a:custGeom>
            <a:avLst/>
            <a:gdLst>
              <a:gd name="connsiteX0" fmla="*/ 0 w 6857096"/>
              <a:gd name="connsiteY0" fmla="*/ 0 h 2194560"/>
              <a:gd name="connsiteX1" fmla="*/ 489651 w 6857096"/>
              <a:gd name="connsiteY1" fmla="*/ 0 h 2194560"/>
              <a:gd name="connsiteX2" fmla="*/ 489651 w 6857096"/>
              <a:gd name="connsiteY2" fmla="*/ 1 h 2194560"/>
              <a:gd name="connsiteX3" fmla="*/ 6857096 w 6857096"/>
              <a:gd name="connsiteY3" fmla="*/ 1 h 2194560"/>
              <a:gd name="connsiteX4" fmla="*/ 5564410 w 6857096"/>
              <a:gd name="connsiteY4" fmla="*/ 2193935 h 2194560"/>
              <a:gd name="connsiteX5" fmla="*/ 489651 w 6857096"/>
              <a:gd name="connsiteY5" fmla="*/ 2193935 h 2194560"/>
              <a:gd name="connsiteX6" fmla="*/ 489651 w 6857096"/>
              <a:gd name="connsiteY6" fmla="*/ 2194560 h 2194560"/>
              <a:gd name="connsiteX7" fmla="*/ 0 w 6857096"/>
              <a:gd name="connsiteY7" fmla="*/ 2194560 h 2194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7096" h="2194560">
                <a:moveTo>
                  <a:pt x="0" y="0"/>
                </a:moveTo>
                <a:lnTo>
                  <a:pt x="489651" y="0"/>
                </a:lnTo>
                <a:lnTo>
                  <a:pt x="489651" y="1"/>
                </a:lnTo>
                <a:lnTo>
                  <a:pt x="6857096" y="1"/>
                </a:lnTo>
                <a:lnTo>
                  <a:pt x="5564410" y="2193935"/>
                </a:lnTo>
                <a:lnTo>
                  <a:pt x="489651" y="2193935"/>
                </a:lnTo>
                <a:lnTo>
                  <a:pt x="489651" y="2194560"/>
                </a:lnTo>
                <a:lnTo>
                  <a:pt x="0" y="21945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B3F3A1-A30E-7661-E4CF-B9DFFFE09753}"/>
              </a:ext>
            </a:extLst>
          </p:cNvPr>
          <p:cNvSpPr/>
          <p:nvPr/>
        </p:nvSpPr>
        <p:spPr>
          <a:xfrm>
            <a:off x="122128" y="2409185"/>
            <a:ext cx="6613743" cy="7078552"/>
          </a:xfrm>
          <a:prstGeom prst="rect">
            <a:avLst/>
          </a:prstGeom>
          <a:solidFill>
            <a:srgbClr val="DCDC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B7AEB9C-376F-469E-898D-011BE60B15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3000" err="1">
              <a:solidFill>
                <a:schemeClr val="tx1"/>
              </a:solidFill>
              <a:latin typeface="Hilti Roman" pitchFamily="2" charset="-128"/>
              <a:ea typeface="+mj-ea"/>
              <a:cs typeface="+mj-cs"/>
              <a:sym typeface="Hilti Roman" pitchFamily="2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E2FA81-5077-ED7B-75FA-6CA79B65727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95" y="268026"/>
            <a:ext cx="1665961" cy="392900"/>
          </a:xfrm>
          <a:prstGeom prst="rect">
            <a:avLst/>
          </a:prstGeom>
        </p:spPr>
      </p:pic>
      <p:sp>
        <p:nvSpPr>
          <p:cNvPr id="12" name="Titel 3">
            <a:extLst>
              <a:ext uri="{FF2B5EF4-FFF2-40B4-BE49-F238E27FC236}">
                <a16:creationId xmlns:a16="http://schemas.microsoft.com/office/drawing/2014/main" id="{4E568083-2E56-BBDF-4040-984D0460992D}"/>
              </a:ext>
            </a:extLst>
          </p:cNvPr>
          <p:cNvSpPr txBox="1">
            <a:spLocks/>
          </p:cNvSpPr>
          <p:nvPr/>
        </p:nvSpPr>
        <p:spPr>
          <a:xfrm>
            <a:off x="237995" y="843392"/>
            <a:ext cx="4598323" cy="1267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560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cap="all" spc="0" baseline="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dirty="0"/>
              <a:t>Tool Pick Up Instructions for After Sales Service</a:t>
            </a:r>
            <a:endParaRPr lang="de-CH" sz="2400" dirty="0"/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2965D298-07CB-053C-023F-9B98BC72EDD7}"/>
              </a:ext>
            </a:extLst>
          </p:cNvPr>
          <p:cNvSpPr txBox="1">
            <a:spLocks/>
          </p:cNvSpPr>
          <p:nvPr/>
        </p:nvSpPr>
        <p:spPr>
          <a:xfrm>
            <a:off x="237996" y="1551217"/>
            <a:ext cx="5523978" cy="933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b="1" kern="1200" spc="50" baseline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6pPr>
            <a:lvl7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7pPr>
            <a:lvl8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8pPr>
            <a:lvl9pPr marL="0" indent="0" algn="l" defTabSz="75609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500" kern="1200" spc="5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100" dirty="0">
                <a:ea typeface="Arial" panose="020B0604020202020204" pitchFamily="34" charset="0"/>
              </a:rPr>
              <a:t>In order to avoid the disposal of your non-tool items and reduce the risk exposure to the repair experts servicing your tool, kindly follow the instructions below in sending your tools for repair </a:t>
            </a:r>
            <a:endParaRPr lang="en-US" sz="105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6FB81B-F73A-CEB8-A8B0-84031E64CC87}"/>
              </a:ext>
            </a:extLst>
          </p:cNvPr>
          <p:cNvSpPr txBox="1"/>
          <p:nvPr/>
        </p:nvSpPr>
        <p:spPr>
          <a:xfrm>
            <a:off x="5074695" y="9487737"/>
            <a:ext cx="17833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www.hilti.com.au</a:t>
            </a:r>
          </a:p>
        </p:txBody>
      </p:sp>
      <p:grpSp>
        <p:nvGrpSpPr>
          <p:cNvPr id="1038" name="Group 1037">
            <a:extLst>
              <a:ext uri="{FF2B5EF4-FFF2-40B4-BE49-F238E27FC236}">
                <a16:creationId xmlns:a16="http://schemas.microsoft.com/office/drawing/2014/main" id="{F21220BE-5A50-ECAB-3D74-8A558D5529A8}"/>
              </a:ext>
            </a:extLst>
          </p:cNvPr>
          <p:cNvGrpSpPr/>
          <p:nvPr/>
        </p:nvGrpSpPr>
        <p:grpSpPr>
          <a:xfrm>
            <a:off x="518739" y="8074421"/>
            <a:ext cx="5944691" cy="540464"/>
            <a:chOff x="518739" y="6485266"/>
            <a:chExt cx="5944691" cy="54046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85C387B-859E-5A50-8A62-2533613405F4}"/>
                </a:ext>
              </a:extLst>
            </p:cNvPr>
            <p:cNvSpPr txBox="1"/>
            <p:nvPr/>
          </p:nvSpPr>
          <p:spPr>
            <a:xfrm>
              <a:off x="1212070" y="6585299"/>
              <a:ext cx="525136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Drain fuel from Petrol quick-off saws and remove blade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054A5FC-038B-1B4D-577D-5E6C6888B271}"/>
                </a:ext>
              </a:extLst>
            </p:cNvPr>
            <p:cNvGrpSpPr/>
            <p:nvPr/>
          </p:nvGrpSpPr>
          <p:grpSpPr>
            <a:xfrm>
              <a:off x="518739" y="6485266"/>
              <a:ext cx="567857" cy="540464"/>
              <a:chOff x="4567413" y="8201253"/>
              <a:chExt cx="1082768" cy="1030537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4E4158F8-16B5-6C38-E428-5A8CBE10E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10000" b="90000" l="10000" r="90000">
                            <a14:foregroundMark x1="48907" y1="52854" x2="48907" y2="59553"/>
                            <a14:foregroundMark x1="69945" y1="23573" x2="69945" y2="23573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714260" y="8201253"/>
                <a:ext cx="935921" cy="1030537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9DE4DE75-F521-1F93-D2BC-8B4D192DB8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567413" y="8663311"/>
                <a:ext cx="389568" cy="389568"/>
              </a:xfrm>
              <a:prstGeom prst="rect">
                <a:avLst/>
              </a:prstGeom>
            </p:spPr>
          </p:pic>
        </p:grp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2F7B30B8-AAF8-C0F7-D7EE-0ACF6413C6B8}"/>
              </a:ext>
            </a:extLst>
          </p:cNvPr>
          <p:cNvGrpSpPr/>
          <p:nvPr/>
        </p:nvGrpSpPr>
        <p:grpSpPr>
          <a:xfrm>
            <a:off x="476969" y="7468044"/>
            <a:ext cx="5986461" cy="424026"/>
            <a:chOff x="476969" y="5532980"/>
            <a:chExt cx="5986461" cy="42402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CC5FAC7-B0ED-BF6B-E036-88AE4C997328}"/>
                </a:ext>
              </a:extLst>
            </p:cNvPr>
            <p:cNvSpPr txBox="1"/>
            <p:nvPr/>
          </p:nvSpPr>
          <p:spPr>
            <a:xfrm>
              <a:off x="1212070" y="5570258"/>
              <a:ext cx="525136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Remove Batteries &amp; chargers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CB17B8E-A22C-8D72-33F9-1E86808912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8046" b="89943" l="9788" r="89947">
                          <a14:foregroundMark x1="30952" y1="50862" x2="30952" y2="50862"/>
                          <a14:foregroundMark x1="27249" y1="16667" x2="27249" y2="16667"/>
                          <a14:foregroundMark x1="30423" y1="8046" x2="30423" y2="8046"/>
                          <a14:foregroundMark x1="62963" y1="22126" x2="62963" y2="22126"/>
                          <a14:backgroundMark x1="52381" y1="31034" x2="52381" y2="31034"/>
                          <a14:backgroundMark x1="52910" y1="30747" x2="52910" y2="30747"/>
                        </a14:backgroundRemoval>
                      </a14:imgEffect>
                    </a14:imgLayer>
                  </a14:imgProps>
                </a:ext>
              </a:extLst>
            </a:blip>
            <a:srcRect l="15860" t="2682" r="20592" b="28020"/>
            <a:stretch/>
          </p:blipFill>
          <p:spPr>
            <a:xfrm>
              <a:off x="613742" y="5532980"/>
              <a:ext cx="422377" cy="424026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B51BF5A-898F-892B-AF5C-E7A8DD6F4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76969" y="5621991"/>
              <a:ext cx="204309" cy="204309"/>
            </a:xfrm>
            <a:prstGeom prst="rect">
              <a:avLst/>
            </a:prstGeom>
          </p:spPr>
        </p:pic>
      </p:grpSp>
      <p:grpSp>
        <p:nvGrpSpPr>
          <p:cNvPr id="1032" name="Group 1031">
            <a:extLst>
              <a:ext uri="{FF2B5EF4-FFF2-40B4-BE49-F238E27FC236}">
                <a16:creationId xmlns:a16="http://schemas.microsoft.com/office/drawing/2014/main" id="{9993E132-6220-5846-0EF5-1A5E502EAC88}"/>
              </a:ext>
            </a:extLst>
          </p:cNvPr>
          <p:cNvGrpSpPr/>
          <p:nvPr/>
        </p:nvGrpSpPr>
        <p:grpSpPr>
          <a:xfrm>
            <a:off x="449504" y="3632045"/>
            <a:ext cx="6013926" cy="523220"/>
            <a:chOff x="449504" y="2732367"/>
            <a:chExt cx="6013926" cy="52322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930EB399-D29A-44EA-1F9A-88D71EB54723}"/>
                </a:ext>
              </a:extLst>
            </p:cNvPr>
            <p:cNvSpPr txBox="1"/>
            <p:nvPr/>
          </p:nvSpPr>
          <p:spPr>
            <a:xfrm>
              <a:off x="1212070" y="2732367"/>
              <a:ext cx="52513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Attach repair paperwork, consignment or email confirmation to carton, tool case or tool </a:t>
              </a:r>
              <a:endParaRPr lang="en-US" sz="14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4BFE30A-B7E7-5A09-353E-D716FCAB2C2A}"/>
                </a:ext>
              </a:extLst>
            </p:cNvPr>
            <p:cNvGrpSpPr/>
            <p:nvPr/>
          </p:nvGrpSpPr>
          <p:grpSpPr>
            <a:xfrm>
              <a:off x="449504" y="2757419"/>
              <a:ext cx="553267" cy="492759"/>
              <a:chOff x="449504" y="2757419"/>
              <a:chExt cx="553267" cy="492759"/>
            </a:xfrm>
          </p:grpSpPr>
          <p:pic>
            <p:nvPicPr>
              <p:cNvPr id="1026" name="Picture 2" descr="Document file paper icon - Project Management | Free icons">
                <a:extLst>
                  <a:ext uri="{FF2B5EF4-FFF2-40B4-BE49-F238E27FC236}">
                    <a16:creationId xmlns:a16="http://schemas.microsoft.com/office/drawing/2014/main" id="{2543FD4E-0421-7309-FC93-82741305E13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92" t="12003" r="19270" b="13611"/>
              <a:stretch/>
            </p:blipFill>
            <p:spPr bwMode="auto">
              <a:xfrm>
                <a:off x="599098" y="2757419"/>
                <a:ext cx="403673" cy="4927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2" descr="Green Check Mark Icon Images – Browse 71,837 Stock Photos ...">
                <a:extLst>
                  <a:ext uri="{FF2B5EF4-FFF2-40B4-BE49-F238E27FC236}">
                    <a16:creationId xmlns:a16="http://schemas.microsoft.com/office/drawing/2014/main" id="{DED5B9B7-A889-3013-F10B-FC8446275E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print"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backgroundRemoval t="10000" b="90000" l="10000" r="90000">
                            <a14:foregroundMark x1="55278" y1="51944" x2="55278" y2="51944"/>
                            <a14:foregroundMark x1="63333" y1="41944" x2="52778" y2="57500"/>
                            <a14:foregroundMark x1="41944" y1="50833" x2="48889" y2="57222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586" t="18021" r="9921" b="17381"/>
              <a:stretch/>
            </p:blipFill>
            <p:spPr bwMode="auto">
              <a:xfrm>
                <a:off x="449504" y="2889702"/>
                <a:ext cx="273545" cy="2437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031" name="Group 1030">
            <a:extLst>
              <a:ext uri="{FF2B5EF4-FFF2-40B4-BE49-F238E27FC236}">
                <a16:creationId xmlns:a16="http://schemas.microsoft.com/office/drawing/2014/main" id="{2B5D709D-0B22-8FD8-662D-10587EBC5C3F}"/>
              </a:ext>
            </a:extLst>
          </p:cNvPr>
          <p:cNvGrpSpPr/>
          <p:nvPr/>
        </p:nvGrpSpPr>
        <p:grpSpPr>
          <a:xfrm>
            <a:off x="489651" y="4375141"/>
            <a:ext cx="5973779" cy="523220"/>
            <a:chOff x="489651" y="3380669"/>
            <a:chExt cx="5973779" cy="52322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7B55F37-A078-385D-2F1D-58B7625A4C68}"/>
                </a:ext>
              </a:extLst>
            </p:cNvPr>
            <p:cNvSpPr txBox="1"/>
            <p:nvPr/>
          </p:nvSpPr>
          <p:spPr>
            <a:xfrm>
              <a:off x="1212070" y="3380669"/>
              <a:ext cx="52513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Remove heavy items from tool case, chisel and drill bits from combi / breaker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084552D-D87A-D258-1BDA-F3F53EB900BE}"/>
                </a:ext>
              </a:extLst>
            </p:cNvPr>
            <p:cNvGrpSpPr/>
            <p:nvPr/>
          </p:nvGrpSpPr>
          <p:grpSpPr>
            <a:xfrm rot="2648156">
              <a:off x="596321" y="3550165"/>
              <a:ext cx="552142" cy="161172"/>
              <a:chOff x="1096528" y="6221525"/>
              <a:chExt cx="4296052" cy="1267032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4D48A8FA-B849-DFAF-A1C8-887FCE02BC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8046" b="91379" l="9524" r="89683">
                            <a14:foregroundMark x1="30952" y1="50862" x2="30952" y2="50862"/>
                            <a14:foregroundMark x1="27249" y1="16667" x2="27249" y2="16667"/>
                            <a14:foregroundMark x1="30423" y1="8046" x2="30423" y2="8046"/>
                            <a14:foregroundMark x1="62963" y1="22126" x2="62963" y2="22126"/>
                            <a14:foregroundMark x1="24603" y1="78161" x2="24603" y2="78161"/>
                            <a14:foregroundMark x1="33862" y1="78736" x2="34921" y2="78736"/>
                            <a14:foregroundMark x1="37037" y1="90517" x2="37037" y2="90517"/>
                            <a14:foregroundMark x1="12169" y1="91379" x2="12169" y2="91379"/>
                            <a14:backgroundMark x1="52381" y1="31034" x2="52381" y2="31034"/>
                            <a14:backgroundMark x1="52910" y1="30747" x2="52910" y2="30747"/>
                            <a14:backgroundMark x1="36772" y1="61782" x2="36772" y2="61782"/>
                            <a14:backgroundMark x1="24339" y1="82471" x2="24339" y2="82471"/>
                          </a14:backgroundRemoval>
                        </a14:imgEffect>
                      </a14:imgLayer>
                    </a14:imgProps>
                  </a:ext>
                </a:extLst>
              </a:blip>
              <a:srcRect l="6583" t="73714" r="11503" b="44"/>
              <a:stretch/>
            </p:blipFill>
            <p:spPr>
              <a:xfrm>
                <a:off x="1096528" y="6221525"/>
                <a:ext cx="4296052" cy="1267032"/>
              </a:xfrm>
              <a:prstGeom prst="rect">
                <a:avLst/>
              </a:prstGeom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4BA8A5A-FC4A-8BE8-9F65-61B2707436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8046" b="91379" l="9524" r="89683">
                            <a14:foregroundMark x1="30952" y1="50862" x2="30952" y2="50862"/>
                            <a14:foregroundMark x1="27249" y1="16667" x2="27249" y2="16667"/>
                            <a14:foregroundMark x1="30423" y1="8046" x2="30423" y2="8046"/>
                            <a14:foregroundMark x1="62963" y1="22126" x2="62963" y2="22126"/>
                            <a14:foregroundMark x1="24603" y1="78161" x2="24603" y2="78161"/>
                            <a14:foregroundMark x1="33862" y1="78736" x2="34921" y2="78736"/>
                            <a14:foregroundMark x1="37037" y1="90517" x2="37037" y2="90517"/>
                            <a14:foregroundMark x1="12169" y1="91379" x2="12169" y2="91379"/>
                            <a14:backgroundMark x1="52381" y1="31034" x2="52381" y2="31034"/>
                            <a14:backgroundMark x1="52910" y1="30747" x2="52910" y2="30747"/>
                            <a14:backgroundMark x1="36772" y1="61782" x2="36772" y2="61782"/>
                            <a14:backgroundMark x1="24339" y1="82471" x2="24339" y2="82471"/>
                          </a14:backgroundRemoval>
                        </a14:imgEffect>
                      </a14:imgLayer>
                    </a14:imgProps>
                  </a:ext>
                </a:extLst>
              </a:blip>
              <a:srcRect l="30353" t="73714" r="62722" b="17181"/>
              <a:stretch/>
            </p:blipFill>
            <p:spPr>
              <a:xfrm>
                <a:off x="2051050" y="6221525"/>
                <a:ext cx="363185" cy="439625"/>
              </a:xfrm>
              <a:prstGeom prst="rect">
                <a:avLst/>
              </a:prstGeom>
            </p:spPr>
          </p:pic>
          <p:pic>
            <p:nvPicPr>
              <p:cNvPr id="1024" name="Picture 1023">
                <a:extLst>
                  <a:ext uri="{FF2B5EF4-FFF2-40B4-BE49-F238E27FC236}">
                    <a16:creationId xmlns:a16="http://schemas.microsoft.com/office/drawing/2014/main" id="{14A4CE84-188F-DE08-F2F8-0DE6A658594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8046" b="91379" l="9524" r="89683">
                            <a14:foregroundMark x1="30952" y1="50862" x2="30952" y2="50862"/>
                            <a14:foregroundMark x1="27249" y1="16667" x2="27249" y2="16667"/>
                            <a14:foregroundMark x1="30423" y1="8046" x2="30423" y2="8046"/>
                            <a14:foregroundMark x1="62963" y1="22126" x2="62963" y2="22126"/>
                            <a14:foregroundMark x1="24603" y1="78161" x2="24603" y2="78161"/>
                            <a14:foregroundMark x1="33862" y1="78736" x2="34921" y2="78736"/>
                            <a14:foregroundMark x1="37037" y1="90517" x2="37037" y2="90517"/>
                            <a14:foregroundMark x1="12169" y1="91379" x2="12169" y2="91379"/>
                            <a14:backgroundMark x1="52381" y1="31034" x2="52381" y2="31034"/>
                            <a14:backgroundMark x1="52910" y1="30747" x2="52910" y2="30747"/>
                            <a14:backgroundMark x1="36772" y1="61782" x2="36772" y2="61782"/>
                            <a14:backgroundMark x1="24339" y1="82471" x2="24339" y2="82471"/>
                          </a14:backgroundRemoval>
                        </a14:imgEffect>
                      </a14:imgLayer>
                    </a14:imgProps>
                  </a:ext>
                </a:extLst>
              </a:blip>
              <a:srcRect l="31149" t="86736" r="63295" b="4159"/>
              <a:stretch/>
            </p:blipFill>
            <p:spPr>
              <a:xfrm>
                <a:off x="1708150" y="6855041"/>
                <a:ext cx="291394" cy="439625"/>
              </a:xfrm>
              <a:prstGeom prst="rect">
                <a:avLst/>
              </a:prstGeom>
            </p:spPr>
          </p:pic>
        </p:grpSp>
        <p:pic>
          <p:nvPicPr>
            <p:cNvPr id="1025" name="Picture 1024">
              <a:extLst>
                <a:ext uri="{FF2B5EF4-FFF2-40B4-BE49-F238E27FC236}">
                  <a16:creationId xmlns:a16="http://schemas.microsoft.com/office/drawing/2014/main" id="{2EBD619C-2496-D6ED-BA0B-27322D5A8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9651" y="3521886"/>
              <a:ext cx="204309" cy="204309"/>
            </a:xfrm>
            <a:prstGeom prst="rect">
              <a:avLst/>
            </a:prstGeom>
          </p:spPr>
        </p:pic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A514100C-1619-C4F1-328E-075D717B4079}"/>
              </a:ext>
            </a:extLst>
          </p:cNvPr>
          <p:cNvGrpSpPr/>
          <p:nvPr/>
        </p:nvGrpSpPr>
        <p:grpSpPr>
          <a:xfrm>
            <a:off x="489651" y="5122174"/>
            <a:ext cx="5973779" cy="436049"/>
            <a:chOff x="489651" y="3931197"/>
            <a:chExt cx="5973779" cy="43604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E0B5C19-ABD3-93D9-2654-ADA56345B5D8}"/>
                </a:ext>
              </a:extLst>
            </p:cNvPr>
            <p:cNvSpPr txBox="1"/>
            <p:nvPr/>
          </p:nvSpPr>
          <p:spPr>
            <a:xfrm>
              <a:off x="1212070" y="3995620"/>
              <a:ext cx="525136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Remove any cutting blades from tools</a:t>
              </a:r>
            </a:p>
          </p:txBody>
        </p:sp>
        <p:pic>
          <p:nvPicPr>
            <p:cNvPr id="1028" name="Picture 4" descr="Saw Blade Icon - Free PNG &amp; SVG 41053 - Noun Project">
              <a:extLst>
                <a:ext uri="{FF2B5EF4-FFF2-40B4-BE49-F238E27FC236}">
                  <a16:creationId xmlns:a16="http://schemas.microsoft.com/office/drawing/2014/main" id="{6F92FF96-5E86-3FEB-528E-F79A2D10A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926" y="3931197"/>
              <a:ext cx="436049" cy="43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1026">
              <a:extLst>
                <a:ext uri="{FF2B5EF4-FFF2-40B4-BE49-F238E27FC236}">
                  <a16:creationId xmlns:a16="http://schemas.microsoft.com/office/drawing/2014/main" id="{54BFD6E8-E4CB-8361-61FA-E2C5D05A4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9651" y="4047066"/>
              <a:ext cx="204309" cy="204309"/>
            </a:xfrm>
            <a:prstGeom prst="rect">
              <a:avLst/>
            </a:prstGeom>
          </p:spPr>
        </p:pic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67C1D08A-00A8-3FC0-6BE3-644BFEB02153}"/>
              </a:ext>
            </a:extLst>
          </p:cNvPr>
          <p:cNvGrpSpPr/>
          <p:nvPr/>
        </p:nvGrpSpPr>
        <p:grpSpPr>
          <a:xfrm>
            <a:off x="489651" y="6616598"/>
            <a:ext cx="5973779" cy="523220"/>
            <a:chOff x="489651" y="4799585"/>
            <a:chExt cx="5973779" cy="52322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E11897-8A75-9D4B-509E-D0E347186FA1}"/>
                </a:ext>
              </a:extLst>
            </p:cNvPr>
            <p:cNvSpPr txBox="1"/>
            <p:nvPr/>
          </p:nvSpPr>
          <p:spPr>
            <a:xfrm>
              <a:off x="1212070" y="4799585"/>
              <a:ext cx="52513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Remove Consumables i.e. nails, cartridges &amp; Gas Cans (dangerous item, will be disposed of) </a:t>
              </a:r>
            </a:p>
          </p:txBody>
        </p:sp>
        <p:pic>
          <p:nvPicPr>
            <p:cNvPr id="1033" name="Picture 8" descr="Portable Gas Can Icon Stroke Outline Stock Vector (Royalty Free) 1323327728  | Shutterstock">
              <a:extLst>
                <a:ext uri="{FF2B5EF4-FFF2-40B4-BE49-F238E27FC236}">
                  <a16:creationId xmlns:a16="http://schemas.microsoft.com/office/drawing/2014/main" id="{CE973E7F-2224-3746-A855-86B2EBA833A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10000" b="90000" l="10000" r="90000">
                          <a14:foregroundMark x1="50769" y1="44286" x2="50769" y2="442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70" t="9799" r="22615" b="17256"/>
            <a:stretch/>
          </p:blipFill>
          <p:spPr bwMode="auto">
            <a:xfrm>
              <a:off x="881140" y="4871671"/>
              <a:ext cx="232356" cy="346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Nails - Free construction and tools icons">
              <a:extLst>
                <a:ext uri="{FF2B5EF4-FFF2-40B4-BE49-F238E27FC236}">
                  <a16:creationId xmlns:a16="http://schemas.microsoft.com/office/drawing/2014/main" id="{06A6CAC0-D26B-9B45-96A1-ECE54A8B70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742" y="4895192"/>
              <a:ext cx="298995" cy="298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5" name="Picture 1034">
              <a:extLst>
                <a:ext uri="{FF2B5EF4-FFF2-40B4-BE49-F238E27FC236}">
                  <a16:creationId xmlns:a16="http://schemas.microsoft.com/office/drawing/2014/main" id="{61341397-7526-D6F5-FF4A-AFF2B22F2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9651" y="4917484"/>
              <a:ext cx="204309" cy="204309"/>
            </a:xfrm>
            <a:prstGeom prst="rect">
              <a:avLst/>
            </a:prstGeom>
          </p:spPr>
        </p:pic>
      </p:grpSp>
      <p:grpSp>
        <p:nvGrpSpPr>
          <p:cNvPr id="1042" name="Group 1041">
            <a:extLst>
              <a:ext uri="{FF2B5EF4-FFF2-40B4-BE49-F238E27FC236}">
                <a16:creationId xmlns:a16="http://schemas.microsoft.com/office/drawing/2014/main" id="{23B56481-5A35-3E5D-F9E7-9392C004EE8F}"/>
              </a:ext>
            </a:extLst>
          </p:cNvPr>
          <p:cNvGrpSpPr/>
          <p:nvPr/>
        </p:nvGrpSpPr>
        <p:grpSpPr>
          <a:xfrm>
            <a:off x="489651" y="5779205"/>
            <a:ext cx="5973779" cy="628437"/>
            <a:chOff x="489651" y="4622771"/>
            <a:chExt cx="5973779" cy="6284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F3FC01B-DD25-90EF-3268-94B105730172}"/>
                </a:ext>
              </a:extLst>
            </p:cNvPr>
            <p:cNvSpPr txBox="1"/>
            <p:nvPr/>
          </p:nvSpPr>
          <p:spPr>
            <a:xfrm>
              <a:off x="1212070" y="4727988"/>
              <a:ext cx="52513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Remove vacuum Buckets. Place head in thick plastic bag or taped box</a:t>
              </a:r>
            </a:p>
          </p:txBody>
        </p:sp>
        <p:grpSp>
          <p:nvGrpSpPr>
            <p:cNvPr id="1041" name="Group 1040">
              <a:extLst>
                <a:ext uri="{FF2B5EF4-FFF2-40B4-BE49-F238E27FC236}">
                  <a16:creationId xmlns:a16="http://schemas.microsoft.com/office/drawing/2014/main" id="{C3DE886D-E9CF-4521-0D7B-29B6B5CFCB69}"/>
                </a:ext>
              </a:extLst>
            </p:cNvPr>
            <p:cNvGrpSpPr/>
            <p:nvPr/>
          </p:nvGrpSpPr>
          <p:grpSpPr>
            <a:xfrm>
              <a:off x="489651" y="4622771"/>
              <a:ext cx="601439" cy="500164"/>
              <a:chOff x="489651" y="4622771"/>
              <a:chExt cx="601439" cy="500164"/>
            </a:xfrm>
          </p:grpSpPr>
          <p:pic>
            <p:nvPicPr>
              <p:cNvPr id="1039" name="Picture 12" descr="Set Vacuum Cleaner Bucket With Foam And Bubbles Vacuum Cleaner And Trash  Can Icon Vector Stock Illustration - Download Image Now - iStock">
                <a:extLst>
                  <a:ext uri="{FF2B5EF4-FFF2-40B4-BE49-F238E27FC236}">
                    <a16:creationId xmlns:a16="http://schemas.microsoft.com/office/drawing/2014/main" id="{72F32CDC-B98B-F60C-9CB8-545F7C340F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biLevel thresh="75000"/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10236" b="41995" l="11283" r="34735">
                            <a14:foregroundMark x1="23894" y1="21522" x2="24115" y2="33596"/>
                            <a14:foregroundMark x1="22124" y1="14436" x2="24779" y2="19160"/>
                            <a14:foregroundMark x1="23230" y1="41995" x2="23230" y2="41995"/>
                            <a14:foregroundMark x1="23894" y1="28871" x2="23894" y2="28871"/>
                            <a14:foregroundMark x1="17699" y1="10761" x2="17699" y2="1076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434" t="6674" r="62147" b="56200"/>
              <a:stretch/>
            </p:blipFill>
            <p:spPr bwMode="auto">
              <a:xfrm>
                <a:off x="620893" y="4622771"/>
                <a:ext cx="470197" cy="5001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0" name="Picture 1039">
                <a:extLst>
                  <a:ext uri="{FF2B5EF4-FFF2-40B4-BE49-F238E27FC236}">
                    <a16:creationId xmlns:a16="http://schemas.microsoft.com/office/drawing/2014/main" id="{9F38F1ED-89DD-F531-2623-16FB0325CB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89651" y="4763144"/>
                <a:ext cx="204309" cy="204309"/>
              </a:xfrm>
              <a:prstGeom prst="rect">
                <a:avLst/>
              </a:prstGeom>
            </p:spPr>
          </p:pic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A0C0F94E-13D0-645C-887E-80A5FC710D84}"/>
              </a:ext>
            </a:extLst>
          </p:cNvPr>
          <p:cNvGrpSpPr/>
          <p:nvPr/>
        </p:nvGrpSpPr>
        <p:grpSpPr>
          <a:xfrm>
            <a:off x="449504" y="2913025"/>
            <a:ext cx="6013926" cy="492759"/>
            <a:chOff x="449504" y="3492434"/>
            <a:chExt cx="6013926" cy="492759"/>
          </a:xfrm>
        </p:grpSpPr>
        <p:pic>
          <p:nvPicPr>
            <p:cNvPr id="1045" name="Picture 1044">
              <a:extLst>
                <a:ext uri="{FF2B5EF4-FFF2-40B4-BE49-F238E27FC236}">
                  <a16:creationId xmlns:a16="http://schemas.microsoft.com/office/drawing/2014/main" id="{0A3391F3-C5D5-A713-E287-5FC41E114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ackgroundRemoval t="10000" b="90000" l="10000" r="90000">
                          <a14:foregroundMark x1="19167" y1="15512" x2="22708" y2="30194"/>
                          <a14:foregroundMark x1="84583" y1="28809" x2="88333" y2="44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44796" y="3492434"/>
              <a:ext cx="655192" cy="492759"/>
            </a:xfrm>
            <a:prstGeom prst="rect">
              <a:avLst/>
            </a:prstGeom>
          </p:spPr>
        </p:pic>
        <p:pic>
          <p:nvPicPr>
            <p:cNvPr id="1046" name="Picture 2" descr="Green Check Mark Icon Images – Browse 71,837 Stock Photos ...">
              <a:extLst>
                <a:ext uri="{FF2B5EF4-FFF2-40B4-BE49-F238E27FC236}">
                  <a16:creationId xmlns:a16="http://schemas.microsoft.com/office/drawing/2014/main" id="{0C0FC308-050B-7B83-8C0B-81335B6596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10000" b="90000" l="10000" r="90000">
                          <a14:foregroundMark x1="55278" y1="51944" x2="55278" y2="51944"/>
                          <a14:foregroundMark x1="63333" y1="41944" x2="52778" y2="57500"/>
                          <a14:foregroundMark x1="41944" y1="50833" x2="48889" y2="5722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86" t="18021" r="9921" b="17381"/>
            <a:stretch/>
          </p:blipFill>
          <p:spPr bwMode="auto">
            <a:xfrm>
              <a:off x="449504" y="3634149"/>
              <a:ext cx="273545" cy="2437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B2250503-CD07-A1D4-E071-0D99BECCA574}"/>
                </a:ext>
              </a:extLst>
            </p:cNvPr>
            <p:cNvSpPr txBox="1"/>
            <p:nvPr/>
          </p:nvSpPr>
          <p:spPr>
            <a:xfrm>
              <a:off x="1212070" y="3526823"/>
              <a:ext cx="525136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effectLst/>
                  <a:latin typeface="Arial" panose="020B0604020202020204" pitchFamily="34" charset="0"/>
                  <a:ea typeface="Arial" panose="020B0604020202020204" pitchFamily="34" charset="0"/>
                </a:rPr>
                <a:t>Send tools only</a:t>
              </a:r>
              <a:endParaRPr lang="en-US" sz="14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34020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HILTI MASTER A4 PORTRAIT" val="qZgv7mBD"/>
  <p:tag name="ARTICULATE_SLIDE_COUNT" val="11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AWAoz83vyR32GgOMJS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ILTI Master A4 Portrait">
  <a:themeElements>
    <a:clrScheme name="Hilti_Colors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Hilti">
      <a:majorFont>
        <a:latin typeface="Hilti Bold"/>
        <a:ea typeface=""/>
        <a:cs typeface=""/>
      </a:majorFont>
      <a:minorFont>
        <a:latin typeface="Hilti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Bef>
            <a:spcPts val="600"/>
          </a:spcBef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16000" indent="-216000" algn="l">
          <a:lnSpc>
            <a:spcPct val="110000"/>
          </a:lnSpc>
          <a:spcBef>
            <a:spcPts val="600"/>
          </a:spcBef>
          <a:buClr>
            <a:schemeClr val="accent4">
              <a:lumMod val="60000"/>
              <a:lumOff val="40000"/>
            </a:schemeClr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ilti A4 Standard Template.potx" id="{F4B86FFE-1937-4AB5-BB75-CD8A13B12729}" vid="{4E70045D-8986-490F-86E7-422B2324D816}"/>
    </a:ext>
  </a:extLst>
</a:theme>
</file>

<file path=ppt/theme/theme2.xml><?xml version="1.0" encoding="utf-8"?>
<a:theme xmlns:a="http://schemas.openxmlformats.org/drawingml/2006/main" name="Larissa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Hilti">
      <a:majorFont>
        <a:latin typeface="Hilti Bold"/>
        <a:ea typeface=""/>
        <a:cs typeface=""/>
      </a:majorFont>
      <a:minorFont>
        <a:latin typeface="Hilti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2E44B7EEED6E49A8CE798498034E55" ma:contentTypeVersion="13" ma:contentTypeDescription="Create a new document." ma:contentTypeScope="" ma:versionID="156e1868a0fd1e54f7e6a0fd7a2e2e36">
  <xsd:schema xmlns:xsd="http://www.w3.org/2001/XMLSchema" xmlns:xs="http://www.w3.org/2001/XMLSchema" xmlns:p="http://schemas.microsoft.com/office/2006/metadata/properties" xmlns:ns3="33123594-2c89-4282-a3a5-b7e510fda865" xmlns:ns4="4c3ea7e0-ad36-4d96-b8fa-8568e52473ab" targetNamespace="http://schemas.microsoft.com/office/2006/metadata/properties" ma:root="true" ma:fieldsID="237b7a079dcfe38b97aac471ad3b4e6a" ns3:_="" ns4:_="">
    <xsd:import namespace="33123594-2c89-4282-a3a5-b7e510fda865"/>
    <xsd:import namespace="4c3ea7e0-ad36-4d96-b8fa-8568e52473a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123594-2c89-4282-a3a5-b7e510fda8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3ea7e0-ad36-4d96-b8fa-8568e52473a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Application xmlns="http://www.sap.com/cof/powerpoint/application">
  <Version>2</Version>
  <Revision>2.4.3.69601</Revision>
</Applic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Application xmlns="http://www.sap.com/cof/ao/powerpoint/application">
  <com.sap.ip.bi.pioneer>
    <Version>4</Version>
    <AAO_Revision>2.4.3.6960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2AAF519B-75FE-45DD-A04E-AE48531F3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123594-2c89-4282-a3a5-b7e510fda865"/>
    <ds:schemaRef ds:uri="4c3ea7e0-ad36-4d96-b8fa-8568e5247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D36F00-9FCF-44DB-9EB8-1C76485FE257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C1D7AAE3-7966-464B-A339-93D12B50F1A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6085C8E-40FD-46A9-B0A4-D87994CE72BB}">
  <ds:schemaRefs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4c3ea7e0-ad36-4d96-b8fa-8568e52473ab"/>
    <ds:schemaRef ds:uri="http://schemas.microsoft.com/office/infopath/2007/PartnerControls"/>
    <ds:schemaRef ds:uri="33123594-2c89-4282-a3a5-b7e510fda865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57FEEB1B-2791-48B5-AC34-6BECA82020C7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ilti A4 Standard Template</Template>
  <TotalTime>15323</TotalTime>
  <Words>135</Words>
  <Application>Microsoft Office PowerPoint</Application>
  <PresentationFormat>A4 Paper (210x297 mm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Hilti Bold</vt:lpstr>
      <vt:lpstr>Hilti Roman</vt:lpstr>
      <vt:lpstr>HILTI Master A4 Portrait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arenina, Josephine</dc:creator>
  <cp:lastModifiedBy>Stirling, Martin</cp:lastModifiedBy>
  <cp:revision>5</cp:revision>
  <cp:lastPrinted>2020-05-18T14:57:13Z</cp:lastPrinted>
  <dcterms:created xsi:type="dcterms:W3CDTF">2023-03-27T13:45:03Z</dcterms:created>
  <dcterms:modified xsi:type="dcterms:W3CDTF">2023-08-24T20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2E44B7EEED6E49A8CE798498034E55</vt:lpwstr>
  </property>
  <property fmtid="{D5CDD505-2E9C-101B-9397-08002B2CF9AE}" pid="3" name="ArticulateGUID">
    <vt:lpwstr>ACFC95C1-3645-46E8-857C-54226188BB7B</vt:lpwstr>
  </property>
  <property fmtid="{D5CDD505-2E9C-101B-9397-08002B2CF9AE}" pid="4" name="ArticulatePath">
    <vt:lpwstr>https://hilti-my.sharepoint.com/personal/tschirk_hilti_com/Documents/Documents/01_Brand Management/MS Office Templates/PowerPoint/4_2_Inno-Hour_demo_guide_mid-market_commercial_piping_EN_CW EB</vt:lpwstr>
  </property>
</Properties>
</file>